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4"/>
  </p:sldMasterIdLst>
  <p:notesMasterIdLst>
    <p:notesMasterId r:id="rId9"/>
  </p:notesMasterIdLst>
  <p:handoutMasterIdLst>
    <p:handoutMasterId r:id="rId10"/>
  </p:handoutMasterIdLst>
  <p:sldIdLst>
    <p:sldId id="301" r:id="rId5"/>
    <p:sldId id="296" r:id="rId6"/>
    <p:sldId id="302" r:id="rId7"/>
    <p:sldId id="303" r:id="rId8"/>
  </p:sldIdLst>
  <p:sldSz cx="9906000" cy="6858000" type="A4"/>
  <p:notesSz cx="6794500" cy="10007600"/>
  <p:custDataLst>
    <p:tags r:id="rId1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2750">
          <p15:clr>
            <a:srgbClr val="A4A3A4"/>
          </p15:clr>
        </p15:guide>
        <p15:guide id="4" orient="horz" pos="4004">
          <p15:clr>
            <a:srgbClr val="A4A3A4"/>
          </p15:clr>
        </p15:guide>
        <p15:guide id="5" orient="horz" pos="4206">
          <p15:clr>
            <a:srgbClr val="A4A3A4"/>
          </p15:clr>
        </p15:guide>
        <p15:guide id="6" orient="horz" pos="482">
          <p15:clr>
            <a:srgbClr val="A4A3A4"/>
          </p15:clr>
        </p15:guide>
        <p15:guide id="7" pos="5981">
          <p15:clr>
            <a:srgbClr val="A4A3A4"/>
          </p15:clr>
        </p15:guide>
        <p15:guide id="8" pos="3066">
          <p15:clr>
            <a:srgbClr val="A4A3A4"/>
          </p15:clr>
        </p15:guide>
        <p15:guide id="9" pos="3156">
          <p15:clr>
            <a:srgbClr val="A4A3A4"/>
          </p15:clr>
        </p15:guide>
        <p15:guide id="10" pos="2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5F1939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10" autoAdjust="0"/>
    <p:restoredTop sz="93424" autoAdjust="0"/>
  </p:normalViewPr>
  <p:slideViewPr>
    <p:cSldViewPr showGuides="1">
      <p:cViewPr varScale="1">
        <p:scale>
          <a:sx n="114" d="100"/>
          <a:sy n="114" d="100"/>
        </p:scale>
        <p:origin x="1554" y="108"/>
      </p:cViewPr>
      <p:guideLst>
        <p:guide orient="horz" pos="733"/>
        <p:guide orient="horz" pos="1102"/>
        <p:guide orient="horz" pos="2750"/>
        <p:guide orient="horz" pos="4004"/>
        <p:guide orient="horz" pos="4206"/>
        <p:guide orient="horz" pos="482"/>
        <p:guide pos="5981"/>
        <p:guide pos="3066"/>
        <p:guide pos="3156"/>
        <p:guide pos="25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0595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50595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7388" y="749300"/>
            <a:ext cx="5422900" cy="37544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52975"/>
            <a:ext cx="4984750" cy="450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50595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50595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/>
            </a:lvl1pPr>
          </a:lstStyle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  <a:p>
            <a:endParaRPr lang="de-DE"/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  <p:pic>
        <p:nvPicPr>
          <p:cNvPr id="256007" name="Picture 7" descr="VWAG_PPT_Logo_Tite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15963"/>
            <a:ext cx="1854200" cy="398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Y:\Informationen\Informationsklassifikation\2014\November 2014\Styleguide\Labels\VWAG_Confidentiality_DE\VWAG_Intern_L_DE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9863" y="4365104"/>
            <a:ext cx="1704975" cy="90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W_AG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200472" y="0"/>
            <a:ext cx="9505056" cy="8367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701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101850" y="6548438"/>
            <a:ext cx="1511300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>
          <a:xfrm>
            <a:off x="398463" y="6548438"/>
            <a:ext cx="1703387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101850" y="6548438"/>
            <a:ext cx="1511300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>
          <a:xfrm>
            <a:off x="398463" y="6548438"/>
            <a:ext cx="1703387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35557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/>
            </a:lvl1pPr>
          </a:lstStyle>
          <a:p>
            <a:fld id="{04ABC90F-D60A-4D10-BF9C-C7AC7A2BE08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549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01850" y="6548438"/>
            <a:ext cx="1511300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/>
            </a:lvl1pPr>
          </a:lstStyle>
          <a:p>
            <a:r>
              <a:rPr lang="de-DE" dirty="0"/>
              <a:t>Abteilung: XXXX-XX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54983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8463" y="6548438"/>
            <a:ext cx="1703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de-DE" dirty="0"/>
              <a:t>Stand: TT. Monat JJJJ</a:t>
            </a:r>
          </a:p>
        </p:txBody>
      </p:sp>
      <p:pic>
        <p:nvPicPr>
          <p:cNvPr id="254984" name="Picture 8" descr="VWAG_PPT_Logo_Fol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70000" cy="27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7" r:id="rId4"/>
    <p:sldLayoutId id="2147483662" r:id="rId5"/>
    <p:sldLayoutId id="2147483663" r:id="rId6"/>
  </p:sldLayoutIdLst>
  <p:hf hdr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0" y="0"/>
            <a:ext cx="9906000" cy="6858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GB" sz="5400" dirty="0"/>
          </a:p>
          <a:p>
            <a:pPr algn="ctr"/>
            <a:r>
              <a:rPr lang="en-GB" sz="5400" dirty="0"/>
              <a:t>Report to GRPE 77</a:t>
            </a:r>
          </a:p>
          <a:p>
            <a:pPr algn="ctr"/>
            <a:r>
              <a:rPr lang="en-GB" sz="5400" dirty="0">
                <a:solidFill>
                  <a:srgbClr val="000000"/>
                </a:solidFill>
              </a:rPr>
              <a:t>IWVTA-GRPE Ambassador </a:t>
            </a:r>
            <a:endParaRPr lang="en-GB" sz="5400" dirty="0"/>
          </a:p>
          <a:p>
            <a:pPr algn="ctr"/>
            <a:r>
              <a:rPr lang="en-GB" sz="5400" dirty="0"/>
              <a:t>(Bill Coleman – OICA) </a:t>
            </a:r>
          </a:p>
        </p:txBody>
      </p:sp>
      <p:sp>
        <p:nvSpPr>
          <p:cNvPr id="3" name="Textfeld 12">
            <a:extLst>
              <a:ext uri="{FF2B5EF4-FFF2-40B4-BE49-F238E27FC236}">
                <a16:creationId xmlns:a16="http://schemas.microsoft.com/office/drawing/2014/main" id="{4E645A49-5C8D-4649-A0DE-CDD2A6F87E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3675" y="62508"/>
            <a:ext cx="33623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Informal document </a:t>
            </a:r>
            <a:r>
              <a:rPr lang="en-US" sz="1200" b="1" dirty="0">
                <a:latin typeface="Times New Roman" pitchFamily="18" charset="0"/>
                <a:cs typeface="Times New Roman" pitchFamily="18" charset="0"/>
              </a:rPr>
              <a:t>GRPE-77-19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77th GRPE, 6–8 June 2018</a:t>
            </a:r>
          </a:p>
          <a:p>
            <a:pPr algn="r"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Agenda item 11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110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/>
              <a:t>1958 Agreement:</a:t>
            </a:r>
          </a:p>
          <a:p>
            <a:pPr marL="450850" indent="-450850"/>
            <a:r>
              <a:rPr lang="en-US" sz="2400" dirty="0"/>
              <a:t>1)	</a:t>
            </a:r>
            <a:r>
              <a:rPr lang="en-US" sz="2400" u="sng" dirty="0"/>
              <a:t>Rules on application of supplements:</a:t>
            </a:r>
          </a:p>
          <a:p>
            <a:pPr marL="450850" indent="-450850"/>
            <a:r>
              <a:rPr lang="en-US" sz="2400" dirty="0"/>
              <a:t>	IWVTA IWG noted concerns by OICA that the new rules result in retroactive application of new (and potentially also of previous) supplements when </a:t>
            </a:r>
            <a:r>
              <a:rPr lang="en-US" sz="2400" dirty="0" err="1"/>
              <a:t>extendig</a:t>
            </a:r>
            <a:r>
              <a:rPr lang="en-US" sz="2400" dirty="0"/>
              <a:t> previous approvals.</a:t>
            </a:r>
          </a:p>
          <a:p>
            <a:pPr marL="450850" indent="-450850"/>
            <a:r>
              <a:rPr lang="en-US" sz="2400" dirty="0"/>
              <a:t>	OICA recently noticed that a recent supplement to UNR 83 to amend the calculation process for coastdown testing could fall into this group.</a:t>
            </a:r>
          </a:p>
          <a:p>
            <a:pPr marL="450850" indent="-450850"/>
            <a:r>
              <a:rPr lang="en-US" sz="2400" dirty="0"/>
              <a:t>	Very few supplements from GRPE have been identified as problematic:	</a:t>
            </a:r>
          </a:p>
          <a:p>
            <a:pPr marL="450850" indent="-450850"/>
            <a:r>
              <a:rPr lang="en-US" sz="2400" dirty="0"/>
              <a:t>		are we very good or did we miss something?</a:t>
            </a:r>
          </a:p>
        </p:txBody>
      </p:sp>
    </p:spTree>
    <p:extLst>
      <p:ext uri="{BB962C8B-B14F-4D97-AF65-F5344CB8AC3E}">
        <p14:creationId xmlns:p14="http://schemas.microsoft.com/office/powerpoint/2010/main" val="1832004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/>
              <a:t>1958 Agreement:</a:t>
            </a:r>
          </a:p>
          <a:p>
            <a:pPr marL="450850" indent="-450850"/>
            <a:r>
              <a:rPr lang="en-US" sz="2400" dirty="0"/>
              <a:t>2)	</a:t>
            </a:r>
            <a:r>
              <a:rPr lang="en-US" sz="2400" u="sng" dirty="0"/>
              <a:t>Schedule 4 “numbering of UN type approvals”:</a:t>
            </a:r>
          </a:p>
          <a:p>
            <a:pPr marL="450850" indent="-450850"/>
            <a:r>
              <a:rPr lang="en-US" sz="2400" dirty="0"/>
              <a:t>	Concerns have been raised regarding type approval numbering systems</a:t>
            </a:r>
          </a:p>
          <a:p>
            <a:pPr marL="450850" indent="-450850"/>
            <a:r>
              <a:rPr lang="en-US" sz="2400" dirty="0"/>
              <a:t>	To date no UNRs under the responsibility of GRPE have been identified as problematic</a:t>
            </a:r>
          </a:p>
        </p:txBody>
      </p:sp>
    </p:spTree>
    <p:extLst>
      <p:ext uri="{BB962C8B-B14F-4D97-AF65-F5344CB8AC3E}">
        <p14:creationId xmlns:p14="http://schemas.microsoft.com/office/powerpoint/2010/main" val="4031870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/>
              <a:t>IWVTA:</a:t>
            </a:r>
          </a:p>
          <a:p>
            <a:pPr marL="450850" indent="-450850"/>
            <a:r>
              <a:rPr lang="en-US" sz="2400" dirty="0"/>
              <a:t>1)	</a:t>
            </a:r>
            <a:r>
              <a:rPr lang="en-US" sz="2400" u="sng" dirty="0"/>
              <a:t>Timing:</a:t>
            </a:r>
          </a:p>
          <a:p>
            <a:pPr marL="450850" indent="-450850"/>
            <a:r>
              <a:rPr lang="en-US" sz="2400" dirty="0"/>
              <a:t>	Create roadmap towards full IWVTA by November 2018</a:t>
            </a:r>
          </a:p>
          <a:p>
            <a:pPr marL="900113"/>
            <a:r>
              <a:rPr lang="en-US" sz="2400" dirty="0"/>
              <a:t>	May contain intermediate targets for inclusion of individual UNRs into Annex 4</a:t>
            </a: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The content of Annex 4 shall be reviewed annually at the November session of WP.29</a:t>
            </a:r>
          </a:p>
          <a:p>
            <a:pPr marL="457200" indent="-457200" defTabSz="450850">
              <a:buAutoNum type="arabicParenR" startAt="2"/>
            </a:pPr>
            <a:r>
              <a:rPr lang="en-US" sz="2400" u="sng" dirty="0"/>
              <a:t>DETA:</a:t>
            </a:r>
          </a:p>
          <a:p>
            <a:pPr lvl="1" defTabSz="450850"/>
            <a:r>
              <a:rPr lang="en-US" sz="2400" dirty="0"/>
              <a:t>Ongoing discussions regarding e.g. access rights (e.g. read only for CPs who are not CPs to </a:t>
            </a:r>
            <a:r>
              <a:rPr lang="en-US" sz="2400"/>
              <a:t>individual Regulations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27683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/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werPoint_Default_Template.pptx" id="{A0DA6E1A-A6D7-4CA8-B8AA-20F13FA71872}" vid="{664826C1-0801-41C1-9480-C8D9C35BBFCE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EC6679-B0DE-4E22-A162-0EA59AB681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8F80A7-E5B5-4198-8D3F-52AA93848E4B}">
  <ds:schemaRefs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BC5B4912-24AC-4598-9CFC-1F375ED535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A4 Paper (210x297 mm)</PresentationFormat>
  <Paragraphs>2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Times New Roman</vt:lpstr>
      <vt:lpstr>blank</vt:lpstr>
      <vt:lpstr>think-cell Folie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1-08T15:33:36Z</dcterms:created>
  <dcterms:modified xsi:type="dcterms:W3CDTF">2018-06-06T13:5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